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165" r:id="rId5"/>
    <p:sldId id="2162" r:id="rId6"/>
    <p:sldId id="2168" r:id="rId7"/>
    <p:sldId id="2172" r:id="rId8"/>
    <p:sldId id="2173" r:id="rId9"/>
    <p:sldId id="2174" r:id="rId10"/>
    <p:sldId id="2175" r:id="rId11"/>
    <p:sldId id="2176" r:id="rId12"/>
    <p:sldId id="2177" r:id="rId13"/>
    <p:sldId id="2178" r:id="rId14"/>
    <p:sldId id="2179" r:id="rId15"/>
    <p:sldId id="2180" r:id="rId16"/>
    <p:sldId id="2181" r:id="rId17"/>
    <p:sldId id="2169" r:id="rId18"/>
    <p:sldId id="2170" r:id="rId19"/>
    <p:sldId id="2171" r:id="rId20"/>
    <p:sldId id="265" r:id="rId21"/>
  </p:sldIdLst>
  <p:sldSz cx="12192000" cy="6858000"/>
  <p:notesSz cx="6799263" cy="9929813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rsh Patel" initials="HP" lastIdx="2" clrIdx="0">
    <p:extLst>
      <p:ext uri="{19B8F6BF-5375-455C-9EA6-DF929625EA0E}">
        <p15:presenceInfo xmlns:p15="http://schemas.microsoft.com/office/powerpoint/2012/main" userId="S::harsh.patel2@in.abb.com::5a605b58-02cc-4a16-9db6-68ddcf44a6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B7ECFF"/>
    <a:srgbClr val="E2EFDA"/>
    <a:srgbClr val="FFB7B7"/>
    <a:srgbClr val="EDFDF0"/>
    <a:srgbClr val="D1FBD9"/>
    <a:srgbClr val="BDF9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7E61A4-74F2-4C09-B265-E1B0120FBD15}" v="652" dt="2022-12-12T10:41:22.618"/>
    <p1510:client id="{5D93C844-DE2F-4343-B972-C6E83BF9D510}" v="24" dt="2022-12-14T09:04:55.825"/>
    <p1510:client id="{F014BCC1-2D7E-4C49-935B-246B8E910D9E}" v="98" dt="2022-12-12T18:13:41.605"/>
  </p1510:revLst>
</p1510:revInfo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73F8A54-F971-430D-9108-034FE38666EA}" styleName="ABB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75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hemeClr val="dk1"/>
        </a:fontRef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15000" cmpd="sng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490A3-8906-4C15-BA06-29841194A30F}" type="datetimeFigureOut">
              <a:rPr lang="en-US" smtClean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12/14/2022</a:t>
            </a:fld>
            <a:endParaRPr lang="en-US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ABD733-F72C-4484-8056-9C6167F848BC}" type="slidenum">
              <a:rPr lang="en-US" smtClean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‹#›</a:t>
            </a:fld>
            <a:endParaRPr lang="en-US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611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fld id="{7B9B1A6A-6BBE-4409-8C9E-DA0703379151}" type="datetimeFigureOut">
              <a:rPr lang="en-US" smtClean="0"/>
              <a:pPr/>
              <a:t>12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3663" y="744538"/>
            <a:ext cx="6618287" cy="3724275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80535" y="4716661"/>
            <a:ext cx="6038194" cy="446841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fld id="{3A94E69C-C28A-4BE6-BE89-71D8FB2035F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885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1pPr>
    <a:lvl2pPr marL="180000" indent="-180000" algn="l" defTabSz="914400" rtl="0" eaLnBrk="1" latinLnBrk="0" hangingPunct="1">
      <a:buFont typeface="ABBvoiceOffice" panose="020D0603020503020204" pitchFamily="34" charset="0"/>
      <a:buChar char="–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3pPr>
    <a:lvl4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4pPr>
    <a:lvl5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5pPr>
    <a:lvl6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water&#10;&#10;Description automatically generated">
            <a:extLst>
              <a:ext uri="{FF2B5EF4-FFF2-40B4-BE49-F238E27FC236}">
                <a16:creationId xmlns:a16="http://schemas.microsoft.com/office/drawing/2014/main" id="{1A80DE43-7896-4B00-8C4B-4125023CE5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4963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INTERNAL</a:t>
            </a:r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7"/>
            <a:ext cx="10112148" cy="504000"/>
          </a:xfrm>
        </p:spPr>
        <p:txBody>
          <a:bodyPr lIns="0" tIns="0" rIns="0" bIns="0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20" y="5751514"/>
            <a:ext cx="10112147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>
                <a:solidFill>
                  <a:schemeClr val="bg2"/>
                </a:solidFill>
              </a:rPr>
              <a:t>—</a:t>
            </a:r>
            <a:endParaRPr lang="en-US" sz="3200" b="1">
              <a:solidFill>
                <a:schemeClr val="bg2"/>
              </a:solidFill>
            </a:endParaRPr>
          </a:p>
        </p:txBody>
      </p:sp>
      <p:pic>
        <p:nvPicPr>
          <p:cNvPr id="10" name="Picture 1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33B6B362-346D-4201-81F0-C3A51CCD5D19}"/>
              </a:ext>
            </a:extLst>
          </p:cNvPr>
          <p:cNvSpPr txBox="1"/>
          <p:nvPr userDrawn="1"/>
        </p:nvSpPr>
        <p:spPr bwMode="gray">
          <a:xfrm>
            <a:off x="334963" y="6495112"/>
            <a:ext cx="600869" cy="2244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Copyright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D093410-AD03-444D-8064-1C394CB99D77}"/>
              </a:ext>
            </a:extLst>
          </p:cNvPr>
          <p:cNvSpPr txBox="1"/>
          <p:nvPr userDrawn="1"/>
        </p:nvSpPr>
        <p:spPr bwMode="gray">
          <a:xfrm>
            <a:off x="1246984" y="6494463"/>
            <a:ext cx="1321004" cy="2244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BB. All rights reserved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" name="Text Placeholder 35">
            <a:extLst>
              <a:ext uri="{FF2B5EF4-FFF2-40B4-BE49-F238E27FC236}">
                <a16:creationId xmlns:a16="http://schemas.microsoft.com/office/drawing/2014/main" id="{24C0936B-D380-471D-8D36-F8A423B37B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5832" y="6494463"/>
            <a:ext cx="309561" cy="223200"/>
          </a:xfr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pl-PL"/>
              <a:t>[</a:t>
            </a:r>
            <a:r>
              <a:rPr lang="pl-PL" err="1"/>
              <a:t>Year</a:t>
            </a:r>
            <a:r>
              <a:rPr lang="pl-PL"/>
              <a:t>]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9D3DBFFC-5993-437B-97F4-35696134B0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3836" y="6528588"/>
            <a:ext cx="1280439" cy="154949"/>
          </a:xfr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1ABC123456</a:t>
            </a:r>
            <a:endParaRPr lang="pl-PL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1218C2-53F4-4224-9A1B-B0C1511E2EB8}"/>
              </a:ext>
            </a:extLst>
          </p:cNvPr>
          <p:cNvSpPr txBox="1"/>
          <p:nvPr userDrawn="1"/>
        </p:nvSpPr>
        <p:spPr bwMode="gray">
          <a:xfrm>
            <a:off x="4941095" y="6529205"/>
            <a:ext cx="341476" cy="1549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pl-PL" sz="800">
                <a:solidFill>
                  <a:schemeClr val="accent2"/>
                </a:solidFill>
              </a:rPr>
              <a:t>Rev.: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CF4647E-05B7-4294-90C2-A31E6E7933B8}"/>
              </a:ext>
            </a:extLst>
          </p:cNvPr>
          <p:cNvSpPr txBox="1"/>
          <p:nvPr userDrawn="1"/>
        </p:nvSpPr>
        <p:spPr bwMode="gray">
          <a:xfrm>
            <a:off x="2926759" y="6529205"/>
            <a:ext cx="761677" cy="1549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800" noProof="0">
                <a:solidFill>
                  <a:schemeClr val="accent2"/>
                </a:solidFill>
              </a:rPr>
              <a:t>Document</a:t>
            </a:r>
            <a:r>
              <a:rPr lang="pl-PL" sz="800">
                <a:solidFill>
                  <a:schemeClr val="accent2"/>
                </a:solidFill>
              </a:rPr>
              <a:t> ID.: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4C711901-B580-4C2F-B08E-8D31C00B00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07972" y="6529205"/>
            <a:ext cx="478466" cy="154949"/>
          </a:xfr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A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9681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: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A21142-3DFF-44D4-84BF-0A5A958541AB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4139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8" y="1931192"/>
            <a:ext cx="11520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2367" y="2317637"/>
            <a:ext cx="11520000" cy="3594212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616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: Title (5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1C58588-E38B-4E5B-A744-F7E43052847A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2716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0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6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0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6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0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664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064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3" y="1931195"/>
            <a:ext cx="3643200" cy="180926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664" y="2317641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064" y="2317641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3" y="4489826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664" y="4489826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064" y="4489826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5930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: Title (6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3B884523-397D-4A98-97E4-67EDDFF5C0A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795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327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796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327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41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795" y="2317641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327" y="2317641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4" y="4489826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796" y="4489826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327" y="4489826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99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: Title &amp;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94581CEE-BA5E-4285-B2D8-B34FEF03B01F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1492" y="1931193"/>
            <a:ext cx="11520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3264" y="2317637"/>
            <a:ext cx="173902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3264" y="4202644"/>
            <a:ext cx="173902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7"/>
            <a:ext cx="173902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4202644"/>
            <a:ext cx="173902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59472" y="2317637"/>
            <a:ext cx="3757689" cy="1710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59472" y="4202644"/>
            <a:ext cx="3757689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2" y="2317637"/>
            <a:ext cx="3759312" cy="1710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2" y="4202644"/>
            <a:ext cx="3759312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gray">
          <a:xfrm>
            <a:off x="332368" y="4115141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492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: Title &amp; Content (8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33712E-3CF2-482F-B9E5-13517B7C97C5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11520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2367" y="2317637"/>
            <a:ext cx="173902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2367" y="3925788"/>
            <a:ext cx="173902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6"/>
            <a:ext cx="173902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3925788"/>
            <a:ext cx="173902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60482" y="2317636"/>
            <a:ext cx="3757436" cy="14364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60482" y="3925788"/>
            <a:ext cx="3757436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3" y="2317636"/>
            <a:ext cx="3759312" cy="14364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3" y="3925788"/>
            <a:ext cx="3759312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3264" y="5453066"/>
            <a:ext cx="1152000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332368" y="3839912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32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064434-E0DB-45C0-856F-3A928AC17331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98091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903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: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861EEA8-6ED7-4FD9-AC5E-399274543367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430994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4309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4309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8" y="5453066"/>
            <a:ext cx="11520896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373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: 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7A8DB10-9BF6-4473-AAA1-9EA8F472E094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435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435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8327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2317638"/>
            <a:ext cx="5604420" cy="3594474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2317638"/>
            <a:ext cx="5603434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536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: 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AFBA867-7789-4C43-8AB0-0B2878D8DE6F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5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2365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8327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327" y="2317638"/>
            <a:ext cx="5605200" cy="295097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5" y="2317638"/>
            <a:ext cx="5605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583" y="5453066"/>
            <a:ext cx="11520682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5517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: Title (2) &amp; Content (2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C3C10F5-0F58-49EA-BF89-B55155636AF1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375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4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4" y="2317638"/>
            <a:ext cx="5605200" cy="3594474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560520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Gleichschenkliges Dreieck 46"/>
          <p:cNvSpPr/>
          <p:nvPr userDrawn="1"/>
        </p:nvSpPr>
        <p:spPr bwMode="gray">
          <a:xfrm rot="5400000">
            <a:off x="4334900" y="4088006"/>
            <a:ext cx="3523271" cy="12494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7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: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Placeholder 10"/>
          <p:cNvPicPr>
            <a:picLocks noChangeAspect="1"/>
          </p:cNvPicPr>
          <p:nvPr userDrawn="1"/>
        </p:nvPicPr>
        <p:blipFill rotWithShape="1">
          <a:blip r:embed="rId2"/>
          <a:srcRect t="21637" b="21637"/>
          <a:stretch/>
        </p:blipFill>
        <p:spPr bwMode="gray">
          <a:xfrm>
            <a:off x="2" y="0"/>
            <a:ext cx="12192000" cy="4610100"/>
          </a:xfrm>
          <a:prstGeom prst="rect">
            <a:avLst/>
          </a:prstGeom>
        </p:spPr>
      </p:pic>
      <p:sp>
        <p:nvSpPr>
          <p:cNvPr id="22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757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INTERNAL</a:t>
            </a:r>
            <a:endParaRPr lang="en-US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6"/>
            <a:ext cx="10112148" cy="504001"/>
          </a:xfrm>
        </p:spPr>
        <p:txBody>
          <a:bodyPr lIns="0" tIns="0" rIns="0" bIns="0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19" y="5751514"/>
            <a:ext cx="10112147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>
                <a:solidFill>
                  <a:schemeClr val="bg2"/>
                </a:solidFill>
              </a:rPr>
              <a:t>—</a:t>
            </a:r>
            <a:endParaRPr lang="en-US" sz="3200" b="1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88324A6-994A-4A01-AA2C-4140A44BA8F5}"/>
              </a:ext>
            </a:extLst>
          </p:cNvPr>
          <p:cNvSpPr txBox="1"/>
          <p:nvPr userDrawn="1"/>
        </p:nvSpPr>
        <p:spPr bwMode="gray">
          <a:xfrm>
            <a:off x="334963" y="6495112"/>
            <a:ext cx="600869" cy="2244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Copyright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77D8AF-5555-44B3-9851-60A4C0B7AAF6}"/>
              </a:ext>
            </a:extLst>
          </p:cNvPr>
          <p:cNvSpPr txBox="1"/>
          <p:nvPr userDrawn="1"/>
        </p:nvSpPr>
        <p:spPr bwMode="gray">
          <a:xfrm>
            <a:off x="1246984" y="6494463"/>
            <a:ext cx="1321004" cy="2244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BB. All rights reserved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5" name="Text Placeholder 35">
            <a:extLst>
              <a:ext uri="{FF2B5EF4-FFF2-40B4-BE49-F238E27FC236}">
                <a16:creationId xmlns:a16="http://schemas.microsoft.com/office/drawing/2014/main" id="{E43FED5E-62CF-4EC2-A38F-E5FD8864BE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5832" y="6494463"/>
            <a:ext cx="309561" cy="223200"/>
          </a:xfr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pl-PL"/>
              <a:t>[</a:t>
            </a:r>
            <a:r>
              <a:rPr lang="pl-PL" err="1"/>
              <a:t>Year</a:t>
            </a:r>
            <a:r>
              <a:rPr lang="pl-PL"/>
              <a:t>]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8938570C-92A4-4A0F-9251-273D91089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3836" y="6528588"/>
            <a:ext cx="1280439" cy="154949"/>
          </a:xfr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1ABC123456</a:t>
            </a:r>
            <a:endParaRPr lang="pl-PL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A0631E-DC45-46EB-9681-B9EEA27FFD43}"/>
              </a:ext>
            </a:extLst>
          </p:cNvPr>
          <p:cNvSpPr txBox="1"/>
          <p:nvPr userDrawn="1"/>
        </p:nvSpPr>
        <p:spPr bwMode="gray">
          <a:xfrm>
            <a:off x="4941095" y="6529205"/>
            <a:ext cx="341476" cy="1549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pl-PL" sz="800">
                <a:solidFill>
                  <a:schemeClr val="accent2"/>
                </a:solidFill>
              </a:rPr>
              <a:t>Rev.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FC31A07-FD0C-4955-A605-DB63A5524ED6}"/>
              </a:ext>
            </a:extLst>
          </p:cNvPr>
          <p:cNvSpPr txBox="1"/>
          <p:nvPr userDrawn="1"/>
        </p:nvSpPr>
        <p:spPr bwMode="gray">
          <a:xfrm>
            <a:off x="2926759" y="6529205"/>
            <a:ext cx="761677" cy="1549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800" noProof="0">
                <a:solidFill>
                  <a:schemeClr val="accent2"/>
                </a:solidFill>
              </a:rPr>
              <a:t>Document</a:t>
            </a:r>
            <a:r>
              <a:rPr lang="pl-PL" sz="800">
                <a:solidFill>
                  <a:schemeClr val="accent2"/>
                </a:solidFill>
              </a:rPr>
              <a:t> ID.: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4AD9844D-3B5B-43A2-9087-1E22AFDD4C8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07972" y="6529205"/>
            <a:ext cx="478466" cy="154949"/>
          </a:xfr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A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244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: Title (2) &amp; Content (2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leichschenkliges Dreieck 46"/>
          <p:cNvSpPr/>
          <p:nvPr userDrawn="1"/>
        </p:nvSpPr>
        <p:spPr bwMode="gray">
          <a:xfrm rot="5400000">
            <a:off x="4656514" y="3766499"/>
            <a:ext cx="2879662" cy="124579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2DB7EC9-912A-4DC2-A6BA-BF3A4FC776E0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606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3754" y="2238606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5" y="2317751"/>
            <a:ext cx="5605200" cy="2950867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751"/>
            <a:ext cx="560520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7" y="5453066"/>
            <a:ext cx="1152116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116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5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: 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0EFA936-28E9-42DC-A924-CB516818427B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2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5" y="1931195"/>
            <a:ext cx="5605200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640"/>
            <a:ext cx="5605200" cy="359447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486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: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F92F29D-EA39-49E1-8C36-4F99E173F1C6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98091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49107" y="3989616"/>
            <a:ext cx="5604420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266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: Title (3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4045107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5" y="2318321"/>
            <a:ext cx="5605200" cy="148419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40"/>
            <a:ext cx="5605200" cy="35951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6B8F505-684D-4A1B-8221-D6522F8976E6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4432235"/>
            <a:ext cx="5605200" cy="148105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1159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95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: Title (3) &amp; Content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6" y="5452639"/>
            <a:ext cx="11520877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3" y="2317641"/>
            <a:ext cx="5605200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7"/>
            <a:ext cx="5605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3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3" y="3831247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FEB7575-D3D0-4652-BA3A-0CCCCCFCBFB4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3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3" y="4135561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3" y="4214707"/>
            <a:ext cx="5605200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904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: Title &amp; Content (2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316BD20-B884-4AFE-AD41-0CFDA4A22B89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582" y="1931195"/>
            <a:ext cx="2064201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700027" y="1931195"/>
            <a:ext cx="9153500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582" y="2317640"/>
            <a:ext cx="2064201" cy="359447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983" y="2238495"/>
            <a:ext cx="2062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2548405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8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: Title &amp; Content (2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6E15E2C-8566-4D33-8B8A-F0E4E6EF657A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5"/>
            <a:ext cx="409376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724929" y="1931195"/>
            <a:ext cx="7128598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3" y="2317640"/>
            <a:ext cx="4093767" cy="359447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82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: Title (3) &amp; Content (3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409376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453" y="1931194"/>
            <a:ext cx="7128811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453" y="4042705"/>
            <a:ext cx="7128811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453" y="2317638"/>
            <a:ext cx="7128811" cy="148354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4094665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AF52ABA-CCDF-416F-BC1D-949357AD8904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9"/>
          <p:cNvCxnSpPr/>
          <p:nvPr userDrawn="1"/>
        </p:nvCxnSpPr>
        <p:spPr bwMode="gray">
          <a:xfrm>
            <a:off x="4725264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725264" y="4349421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453" y="4428564"/>
            <a:ext cx="7128811" cy="148354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366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: Title (3) &amp; Content (3) &amp; Bo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 bwMode="gray">
          <a:xfrm>
            <a:off x="457598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6" y="5452639"/>
            <a:ext cx="11521161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930" y="2317641"/>
            <a:ext cx="7128597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4094664" cy="295097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7" y="1931193"/>
            <a:ext cx="4094664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930" y="1931193"/>
            <a:ext cx="712929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930" y="3831247"/>
            <a:ext cx="712929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EB90D3A7-6A39-47F0-89AD-C5552FB72721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930" y="4214707"/>
            <a:ext cx="7128597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9"/>
          <p:cNvCxnSpPr/>
          <p:nvPr userDrawn="1"/>
        </p:nvCxnSpPr>
        <p:spPr bwMode="gray">
          <a:xfrm>
            <a:off x="4724930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4727528" y="4136597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45" name="Straight Connector 44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063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: Title (3) &amp;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DA2D124-73B0-4741-87DD-F31F2F07034A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184"/>
            <a:ext cx="3643200" cy="359493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5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7184"/>
            <a:ext cx="3643200" cy="359493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184"/>
            <a:ext cx="3643200" cy="359493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4124130" y="2388386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062662" y="2388386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706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2" y="0"/>
            <a:ext cx="12192000" cy="46101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4963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INTERNAL</a:t>
            </a:r>
            <a:endParaRPr lang="en-US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6"/>
            <a:ext cx="10112148" cy="504001"/>
          </a:xfrm>
        </p:spPr>
        <p:txBody>
          <a:bodyPr lIns="0" tIns="0" rIns="0" bIns="0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19" y="5751514"/>
            <a:ext cx="10112147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>
                <a:solidFill>
                  <a:schemeClr val="bg2"/>
                </a:solidFill>
              </a:rPr>
              <a:t>—</a:t>
            </a:r>
            <a:endParaRPr lang="en-US" sz="3200" b="1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B1F5A5F-1F57-4A24-B5DE-60B2ED9BC8C7}"/>
              </a:ext>
            </a:extLst>
          </p:cNvPr>
          <p:cNvSpPr txBox="1"/>
          <p:nvPr userDrawn="1"/>
        </p:nvSpPr>
        <p:spPr bwMode="gray">
          <a:xfrm>
            <a:off x="334963" y="6495112"/>
            <a:ext cx="600869" cy="2244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Copyright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4C8EE1D-097B-4560-995B-E8866DC2AFCA}"/>
              </a:ext>
            </a:extLst>
          </p:cNvPr>
          <p:cNvSpPr txBox="1"/>
          <p:nvPr userDrawn="1"/>
        </p:nvSpPr>
        <p:spPr bwMode="gray">
          <a:xfrm>
            <a:off x="1246984" y="6494463"/>
            <a:ext cx="1321004" cy="2244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BB. All rights reserved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35">
            <a:extLst>
              <a:ext uri="{FF2B5EF4-FFF2-40B4-BE49-F238E27FC236}">
                <a16:creationId xmlns:a16="http://schemas.microsoft.com/office/drawing/2014/main" id="{7850C270-D3D8-4018-B4D3-75B91A82B4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5832" y="6494463"/>
            <a:ext cx="309561" cy="223200"/>
          </a:xfr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pl-PL"/>
              <a:t>[</a:t>
            </a:r>
            <a:r>
              <a:rPr lang="pl-PL" err="1"/>
              <a:t>Year</a:t>
            </a:r>
            <a:r>
              <a:rPr lang="pl-PL"/>
              <a:t>]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C44AE55-3941-422E-85FF-14F5BFD14F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3836" y="6528588"/>
            <a:ext cx="1280439" cy="154949"/>
          </a:xfr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1ABC123456</a:t>
            </a:r>
            <a:endParaRPr lang="pl-PL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4A39B20-CD03-4FAF-A765-7ADA2916F0A1}"/>
              </a:ext>
            </a:extLst>
          </p:cNvPr>
          <p:cNvSpPr txBox="1"/>
          <p:nvPr userDrawn="1"/>
        </p:nvSpPr>
        <p:spPr bwMode="gray">
          <a:xfrm>
            <a:off x="4941095" y="6529205"/>
            <a:ext cx="341476" cy="1549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pl-PL" sz="800">
                <a:solidFill>
                  <a:schemeClr val="accent2"/>
                </a:solidFill>
              </a:rPr>
              <a:t>Rev.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A625F0-4AB2-418A-8947-04A81D8514A6}"/>
              </a:ext>
            </a:extLst>
          </p:cNvPr>
          <p:cNvSpPr txBox="1"/>
          <p:nvPr userDrawn="1"/>
        </p:nvSpPr>
        <p:spPr bwMode="gray">
          <a:xfrm>
            <a:off x="2926759" y="6529205"/>
            <a:ext cx="761677" cy="1549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800" noProof="0">
                <a:solidFill>
                  <a:schemeClr val="accent2"/>
                </a:solidFill>
              </a:rPr>
              <a:t>Document</a:t>
            </a:r>
            <a:r>
              <a:rPr lang="pl-PL" sz="800">
                <a:solidFill>
                  <a:schemeClr val="accent2"/>
                </a:solidFill>
              </a:rPr>
              <a:t> ID.: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2E6F54D-C8A1-4DC9-B897-E715FB0CD7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07972" y="6529205"/>
            <a:ext cx="478466" cy="154949"/>
          </a:xfr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A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689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: Title (3) &amp; Content (3) &amp;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3264" y="5452639"/>
            <a:ext cx="11520263" cy="460800"/>
          </a:xfrm>
          <a:solidFill>
            <a:schemeClr val="accent3"/>
          </a:solidFill>
        </p:spPr>
        <p:txBody>
          <a:bodyPr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3A46C1E4-1331-4E6B-BF6E-3D51AEFDB956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34" name="Straight Connector 33"/>
          <p:cNvCxnSpPr/>
          <p:nvPr userDrawn="1"/>
        </p:nvCxnSpPr>
        <p:spPr bwMode="gray">
          <a:xfrm>
            <a:off x="412413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062661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482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: Title (3) &amp; Content (3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FA29958-A3CB-4945-A597-6BC8C2DCFC01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35937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8318"/>
            <a:ext cx="3643200" cy="35937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8318"/>
            <a:ext cx="3643200" cy="35937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Gleichschenkliges Dreieck 46"/>
          <p:cNvSpPr/>
          <p:nvPr userDrawn="1"/>
        </p:nvSpPr>
        <p:spPr bwMode="gray">
          <a:xfrm rot="5400000">
            <a:off x="6301200" y="4088360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2362815" y="4091269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0116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: Title (3) &amp; Content (3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0E203C-06FF-4581-A07C-EFC97E84676E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2581" y="5452639"/>
            <a:ext cx="11520683" cy="460800"/>
          </a:xfrm>
          <a:solidFill>
            <a:schemeClr val="accent3"/>
          </a:solidFill>
        </p:spPr>
        <p:txBody>
          <a:bodyPr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6622950" y="3766612"/>
            <a:ext cx="2879092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Gleichschenkliges Dreieck 46"/>
          <p:cNvSpPr/>
          <p:nvPr userDrawn="1"/>
        </p:nvSpPr>
        <p:spPr bwMode="gray">
          <a:xfrm rot="5400000">
            <a:off x="2684564" y="3769521"/>
            <a:ext cx="2879093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006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: 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2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1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1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59"/>
            <a:ext cx="3643200" cy="167378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59"/>
            <a:ext cx="3643200" cy="167378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59"/>
            <a:ext cx="3643200" cy="167378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4D31312-35C5-4C51-BEBC-7DFB106FBB95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3517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: 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1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1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1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59"/>
            <a:ext cx="3643200" cy="102895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59"/>
            <a:ext cx="3643200" cy="102895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59"/>
            <a:ext cx="3643200" cy="102895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9E79DB-42B6-4FDF-8901-EDDD0B15FEBB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1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1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1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Text Placeholder 17"/>
          <p:cNvSpPr>
            <a:spLocks noGrp="1"/>
          </p:cNvSpPr>
          <p:nvPr>
            <p:ph type="body" sz="quarter" idx="31"/>
          </p:nvPr>
        </p:nvSpPr>
        <p:spPr bwMode="gray">
          <a:xfrm>
            <a:off x="333264" y="5452639"/>
            <a:ext cx="11520000" cy="460800"/>
          </a:xfrm>
          <a:solidFill>
            <a:schemeClr val="accent3"/>
          </a:solidFill>
        </p:spPr>
        <p:txBody>
          <a:bodyPr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2703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: Conten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9336AA33-6DC9-453C-804C-536915D96FD3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2367" y="3989616"/>
            <a:ext cx="2655682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55" y="1931194"/>
            <a:ext cx="2655214" cy="1922496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313943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91292" y="1931194"/>
            <a:ext cx="5609417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904951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9197845" y="3989616"/>
            <a:ext cx="2655682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9198313" y="1931194"/>
            <a:ext cx="2655214" cy="1922496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360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4690D58-132B-41F1-809E-7C79AE9ADE6F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265680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752" y="2317638"/>
            <a:ext cx="265680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2317638"/>
            <a:ext cx="265680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752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2240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638"/>
            <a:ext cx="265680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41" name="Straight Connector 40"/>
          <p:cNvCxnSpPr/>
          <p:nvPr userDrawn="1"/>
        </p:nvCxnSpPr>
        <p:spPr bwMode="gray">
          <a:xfrm>
            <a:off x="3138908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gray">
          <a:xfrm>
            <a:off x="9047884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609339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648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: Title (4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752"/>
            <a:ext cx="265680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752" y="2317752"/>
            <a:ext cx="265680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2317752"/>
            <a:ext cx="265680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752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2240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752"/>
            <a:ext cx="265680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30"/>
          </p:nvPr>
        </p:nvSpPr>
        <p:spPr bwMode="gray">
          <a:xfrm>
            <a:off x="332366" y="5452639"/>
            <a:ext cx="11520897" cy="460800"/>
          </a:xfrm>
          <a:solidFill>
            <a:schemeClr val="accent3"/>
          </a:solidFill>
        </p:spPr>
        <p:txBody>
          <a:bodyPr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31"/>
          </p:nvPr>
        </p:nvSpPr>
        <p:spPr bwMode="gray"/>
        <p:txBody>
          <a:bodyPr/>
          <a:lstStyle/>
          <a:p>
            <a:fld id="{7C99B28F-31C8-4DCE-8ADB-92A6DB9BC1A9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42" name="Straight Connector 41"/>
          <p:cNvCxnSpPr/>
          <p:nvPr userDrawn="1"/>
        </p:nvCxnSpPr>
        <p:spPr bwMode="gray">
          <a:xfrm>
            <a:off x="3138908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9047884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gray">
          <a:xfrm>
            <a:off x="6093396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73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: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55C6F4D-1357-4A6A-9B38-79BE30FAEEA6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50004" y="1931197"/>
            <a:ext cx="5603523" cy="1853869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1931197"/>
            <a:ext cx="5602537" cy="185386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7" y="4064036"/>
            <a:ext cx="11520897" cy="184807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09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C707A3D-437C-4768-8817-18F1A32443D8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259985" y="1931197"/>
            <a:ext cx="3643200" cy="1853869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1931197"/>
            <a:ext cx="3643200" cy="185386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118225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7" y="4064036"/>
            <a:ext cx="11520897" cy="184807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8056756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8210327" y="1931197"/>
            <a:ext cx="3643200" cy="1853869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1787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: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b="6897"/>
          <a:stretch/>
        </p:blipFill>
        <p:spPr bwMode="gray">
          <a:xfrm>
            <a:off x="1" y="0"/>
            <a:ext cx="12198845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54DE7E8-58C9-4B5A-B686-53E1B76B68C9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>
                <a:solidFill>
                  <a:schemeClr val="bg1"/>
                </a:solidFill>
              </a:rPr>
              <a:t>—</a:t>
            </a:r>
            <a:endParaRPr lang="en-US" sz="3200" b="1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6BA06A1-F808-4CBA-9D28-8D357F795D4C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7CD425E-9028-4049-A9A0-DC6F9DF0806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30332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: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2098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527" y="3925094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87752" y="1932849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16596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287752" y="4017347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fld id="{E0611517-614C-4B4D-AB44-367E4E99FD8B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1932098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9196727" y="1932849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242240" y="4016596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9196727" y="4017347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5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33264" y="4045107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33264" y="4432235"/>
            <a:ext cx="5605200" cy="148419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5605200" cy="1484876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4E03CA3-8880-4761-834D-5767F2401861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333264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2317641"/>
            <a:ext cx="5605200" cy="148105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1159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6248045" y="4043972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4"/>
          <p:cNvCxnSpPr/>
          <p:nvPr userDrawn="1"/>
        </p:nvCxnSpPr>
        <p:spPr bwMode="gray">
          <a:xfrm>
            <a:off x="6248045" y="4351954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15"/>
          <p:cNvSpPr>
            <a:spLocks noGrp="1"/>
          </p:cNvSpPr>
          <p:nvPr>
            <p:ph sz="quarter" idx="23"/>
          </p:nvPr>
        </p:nvSpPr>
        <p:spPr bwMode="gray">
          <a:xfrm>
            <a:off x="6248045" y="4430420"/>
            <a:ext cx="5605200" cy="148105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621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1195"/>
            <a:ext cx="5619398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9822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4129" y="1931195"/>
            <a:ext cx="5619398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59571"/>
            <a:ext cx="5619398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4129" y="4059571"/>
            <a:ext cx="5619398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fld id="{8EC109B0-75FC-4429-BE4E-3C56DF0B4567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52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1198"/>
            <a:ext cx="5621183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2344" y="1931198"/>
            <a:ext cx="5621183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3737725"/>
            <a:ext cx="5621183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2344" y="3737725"/>
            <a:ext cx="5621183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67" y="5452639"/>
            <a:ext cx="11521160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Straight Connector 22"/>
          <p:cNvCxnSpPr/>
          <p:nvPr userDrawn="1"/>
        </p:nvCxnSpPr>
        <p:spPr bwMode="gray">
          <a:xfrm>
            <a:off x="333527" y="359990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fld id="{82AE24F0-D46E-441E-BC56-E449F6276B29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3374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9383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: Title (2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5361993" cy="191932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993324"/>
            <a:ext cx="5361993" cy="191932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1798" y="3921919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582" y="1931196"/>
            <a:ext cx="1918800" cy="191932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582" y="3993324"/>
            <a:ext cx="1918800" cy="191932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/>
          <a:lstStyle/>
          <a:p>
            <a:fld id="{15E70819-8927-4894-9672-C8919068D05F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09" y="1931196"/>
            <a:ext cx="3634755" cy="398144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909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: 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5361993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305949"/>
            <a:ext cx="5361993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680702"/>
            <a:ext cx="5361993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866" y="3235138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2554866" y="4611082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367" y="1931196"/>
            <a:ext cx="1917663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367" y="3305949"/>
            <a:ext cx="1917663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 userDrawn="1">
            <p:ph sz="quarter" idx="25"/>
          </p:nvPr>
        </p:nvSpPr>
        <p:spPr bwMode="gray">
          <a:xfrm>
            <a:off x="332367" y="4680702"/>
            <a:ext cx="1917663" cy="123194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/>
          <a:lstStyle/>
          <a:p>
            <a:fld id="{4BCB0CFA-6541-4C1A-AF28-2E10B008E3FC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09" y="1931196"/>
            <a:ext cx="3634755" cy="398144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296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: Title (3) &amp; Content (3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323513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305949"/>
            <a:ext cx="9299991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680702"/>
            <a:ext cx="9299991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611082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305949"/>
            <a:ext cx="1916766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680702"/>
            <a:ext cx="1916766" cy="123194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fld id="{7717F15D-506D-49EF-9CE2-C0D267A1C972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475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: Title (3) &amp; Content (3) &amp; Bo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101647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301966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091669"/>
            <a:ext cx="9299991" cy="101647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252143"/>
            <a:ext cx="9299991" cy="101647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180142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01647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091669"/>
            <a:ext cx="1916766" cy="101647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252143"/>
            <a:ext cx="1916766" cy="101647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6" y="5452639"/>
            <a:ext cx="11520898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 bwMode="gray"/>
        <p:txBody>
          <a:bodyPr/>
          <a:lstStyle/>
          <a:p>
            <a:fld id="{A6AEED0B-F756-4AC8-AA9D-323D354ED2D7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8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9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85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: Title (4) &amp; Content (4) &amp; Box /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818583" y="1931198"/>
            <a:ext cx="903468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818583" y="2801554"/>
            <a:ext cx="903468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818583" y="3671910"/>
            <a:ext cx="903468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7" y="5452639"/>
            <a:ext cx="11520898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332582" y="1931198"/>
            <a:ext cx="153587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2582" y="2801554"/>
            <a:ext cx="153587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332582" y="3671910"/>
            <a:ext cx="153587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2818583" y="4542265"/>
            <a:ext cx="903468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332582" y="4542265"/>
            <a:ext cx="153587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9" name="Straight Connector 13"/>
          <p:cNvCxnSpPr/>
          <p:nvPr userDrawn="1"/>
        </p:nvCxnSpPr>
        <p:spPr bwMode="gray">
          <a:xfrm>
            <a:off x="1999567" y="2800986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14"/>
          <p:cNvCxnSpPr/>
          <p:nvPr userDrawn="1"/>
        </p:nvCxnSpPr>
        <p:spPr bwMode="gray">
          <a:xfrm>
            <a:off x="1779054" y="3164586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Straight Connector 13"/>
          <p:cNvCxnSpPr/>
          <p:nvPr userDrawn="1"/>
        </p:nvCxnSpPr>
        <p:spPr bwMode="gray">
          <a:xfrm>
            <a:off x="1999567" y="4542262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Straight Connector 14"/>
          <p:cNvCxnSpPr/>
          <p:nvPr userDrawn="1"/>
        </p:nvCxnSpPr>
        <p:spPr bwMode="gray">
          <a:xfrm>
            <a:off x="1778487" y="4905862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13"/>
          <p:cNvCxnSpPr/>
          <p:nvPr userDrawn="1"/>
        </p:nvCxnSpPr>
        <p:spPr bwMode="gray">
          <a:xfrm>
            <a:off x="1999567" y="1930348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14"/>
          <p:cNvCxnSpPr/>
          <p:nvPr userDrawn="1"/>
        </p:nvCxnSpPr>
        <p:spPr bwMode="gray">
          <a:xfrm>
            <a:off x="1779502" y="2293948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13"/>
          <p:cNvCxnSpPr/>
          <p:nvPr userDrawn="1"/>
        </p:nvCxnSpPr>
        <p:spPr bwMode="gray">
          <a:xfrm>
            <a:off x="1999568" y="3671624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Connector 14"/>
          <p:cNvCxnSpPr/>
          <p:nvPr userDrawn="1"/>
        </p:nvCxnSpPr>
        <p:spPr bwMode="gray">
          <a:xfrm>
            <a:off x="1778487" y="4035224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2072427" y="272954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 bwMode="gray">
          <a:xfrm>
            <a:off x="2072427" y="3599904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 bwMode="gray">
          <a:xfrm>
            <a:off x="2072427" y="447025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 userDrawn="1">
            <p:ph type="dt" sz="half" idx="32"/>
          </p:nvPr>
        </p:nvSpPr>
        <p:spPr bwMode="gray"/>
        <p:txBody>
          <a:bodyPr/>
          <a:lstStyle/>
          <a:p>
            <a:fld id="{5886327C-AA5E-4F43-AF30-97340266EED1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3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34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4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5" hasCustomPrompt="1"/>
          </p:nvPr>
        </p:nvSpPr>
        <p:spPr>
          <a:xfrm>
            <a:off x="2218077" y="2100061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pl-PL"/>
              <a:t>1</a:t>
            </a:r>
            <a:endParaRPr lang="en-GB"/>
          </a:p>
        </p:txBody>
      </p:sp>
      <p:sp>
        <p:nvSpPr>
          <p:cNvPr id="54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2218077" y="297198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pl-PL"/>
              <a:t>2</a:t>
            </a:r>
            <a:endParaRPr lang="en-GB"/>
          </a:p>
        </p:txBody>
      </p:sp>
      <p:sp>
        <p:nvSpPr>
          <p:cNvPr id="55" name="Content Placeholder 6"/>
          <p:cNvSpPr>
            <a:spLocks noGrp="1"/>
          </p:cNvSpPr>
          <p:nvPr>
            <p:ph sz="quarter" idx="37" hasCustomPrompt="1"/>
          </p:nvPr>
        </p:nvSpPr>
        <p:spPr>
          <a:xfrm>
            <a:off x="2218077" y="384341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pl-PL"/>
              <a:t>3</a:t>
            </a:r>
            <a:endParaRPr lang="en-GB"/>
          </a:p>
        </p:txBody>
      </p:sp>
      <p:sp>
        <p:nvSpPr>
          <p:cNvPr id="56" name="Content Placeholder 6"/>
          <p:cNvSpPr>
            <a:spLocks noGrp="1"/>
          </p:cNvSpPr>
          <p:nvPr>
            <p:ph sz="quarter" idx="38" hasCustomPrompt="1"/>
          </p:nvPr>
        </p:nvSpPr>
        <p:spPr>
          <a:xfrm>
            <a:off x="2218077" y="4708172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pl-PL"/>
              <a:t>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3298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: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2553272" y="1931194"/>
            <a:ext cx="2899094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27"/>
          </p:nvPr>
        </p:nvSpPr>
        <p:spPr bwMode="gray">
          <a:xfrm>
            <a:off x="5754947" y="1931194"/>
            <a:ext cx="2898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8955527" y="1931194"/>
            <a:ext cx="2898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2" y="2317748"/>
            <a:ext cx="2903803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573970"/>
            <a:ext cx="2903803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830194"/>
            <a:ext cx="2903803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305949"/>
            <a:ext cx="1916766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680702"/>
            <a:ext cx="1916766" cy="123194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8" name="Straight Connector 27"/>
          <p:cNvCxnSpPr/>
          <p:nvPr userDrawn="1"/>
        </p:nvCxnSpPr>
        <p:spPr bwMode="gray">
          <a:xfrm>
            <a:off x="2553272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2550359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 bwMode="gray">
          <a:xfrm>
            <a:off x="2550359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 bwMode="gray">
          <a:xfrm>
            <a:off x="5754400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 bwMode="gray">
          <a:xfrm>
            <a:off x="5752943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 bwMode="gray">
          <a:xfrm>
            <a:off x="5752943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 bwMode="gray">
          <a:xfrm>
            <a:off x="8955527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955527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955527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5757301" y="2317748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5757302" y="3573970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5757302" y="4830194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quarter" idx="32"/>
          </p:nvPr>
        </p:nvSpPr>
        <p:spPr bwMode="gray">
          <a:xfrm>
            <a:off x="8955527" y="2317748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quarter" idx="33"/>
          </p:nvPr>
        </p:nvSpPr>
        <p:spPr bwMode="gray">
          <a:xfrm>
            <a:off x="8955527" y="3573970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34"/>
          </p:nvPr>
        </p:nvSpPr>
        <p:spPr bwMode="gray">
          <a:xfrm>
            <a:off x="8955527" y="4830194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5"/>
          </p:nvPr>
        </p:nvSpPr>
        <p:spPr bwMode="gray"/>
        <p:txBody>
          <a:bodyPr/>
          <a:lstStyle/>
          <a:p>
            <a:fld id="{9C2F4835-9B96-4DF5-AAA6-ECF7FA6AC084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6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7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54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: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2" y="0"/>
            <a:ext cx="12192000" cy="6858000"/>
          </a:xfrm>
          <a:prstGeom prst="rect">
            <a:avLst/>
          </a:prstGeom>
          <a:solidFill>
            <a:srgbClr val="FF000F"/>
          </a:solidFill>
          <a:ln w="25400" cap="flat" cmpd="sng" algn="ctr">
            <a:noFill/>
            <a:prstDash val="solid"/>
          </a:ln>
          <a:effectLst/>
        </p:spPr>
        <p:txBody>
          <a:bodyPr lIns="72009" tIns="72009" rIns="72009" bIns="72009" rtlCol="0" anchor="ctr"/>
          <a:lstStyle/>
          <a:p>
            <a:pPr marL="0" marR="0" lvl="0" indent="0" algn="ctr" defTabSz="914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4A90620-6E53-42BB-807B-70CAD0710CDD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>
                <a:solidFill>
                  <a:schemeClr val="bg1"/>
                </a:solidFill>
              </a:rPr>
              <a:t>—</a:t>
            </a:r>
            <a:endParaRPr lang="en-US" sz="3200" b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B34BC21-AFED-46B1-8268-92A7B5BBDEE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C1FE702-2A26-4886-8C77-E6510DB1849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0129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: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945"/>
            <a:ext cx="3643200" cy="360000"/>
          </a:xfrm>
          <a:prstGeom prst="homePlate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38A18E7-9BD9-4C21-A92A-0000075C47BF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402146"/>
            <a:ext cx="3643200" cy="35112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402146"/>
            <a:ext cx="3643200" cy="35112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402146"/>
            <a:ext cx="3643200" cy="35112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7" name="Straight Connector 26"/>
          <p:cNvCxnSpPr/>
          <p:nvPr userDrawn="1"/>
        </p:nvCxnSpPr>
        <p:spPr bwMode="gray">
          <a:xfrm>
            <a:off x="4124130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8062662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957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2: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2" y="0"/>
            <a:ext cx="12192000" cy="6858000"/>
          </a:xfrm>
          <a:custGeom>
            <a:avLst/>
            <a:gdLst>
              <a:gd name="connsiteX0" fmla="*/ 334746 w 12192000"/>
              <a:gd name="connsiteY0" fmla="*/ 530044 h 6858000"/>
              <a:gd name="connsiteX1" fmla="*/ 334746 w 12192000"/>
              <a:gd name="connsiteY1" fmla="*/ 558844 h 6858000"/>
              <a:gd name="connsiteX2" fmla="*/ 561546 w 12192000"/>
              <a:gd name="connsiteY2" fmla="*/ 558844 h 6858000"/>
              <a:gd name="connsiteX3" fmla="*/ 561546 w 12192000"/>
              <a:gd name="connsiteY3" fmla="*/ 53004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4746" y="530044"/>
                </a:moveTo>
                <a:lnTo>
                  <a:pt x="334746" y="558844"/>
                </a:lnTo>
                <a:lnTo>
                  <a:pt x="561546" y="558844"/>
                </a:lnTo>
                <a:lnTo>
                  <a:pt x="561546" y="53004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2366" y="622788"/>
            <a:ext cx="11520898" cy="396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5F354CEB-C103-4DD3-8EFF-E66E8B8645B8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242214" y="447781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1800" b="1">
                <a:solidFill>
                  <a:srgbClr val="FF0000"/>
                </a:solidFill>
              </a:rPr>
              <a:t>—</a:t>
            </a:r>
            <a:endParaRPr lang="en-US" sz="18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37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88CF2583-54A7-46B8-A74C-6028C6CABEF8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646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: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2811EE99-D791-4D9A-8276-2A7146444179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7616" y="2793573"/>
            <a:ext cx="3296776" cy="126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479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: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6884551-BCA1-4427-92BF-DB5CAA0DDF08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>
                <a:solidFill>
                  <a:schemeClr val="bg2"/>
                </a:solidFill>
              </a:rPr>
              <a:t>—</a:t>
            </a:r>
            <a:endParaRPr lang="en-US" sz="3200" b="1">
              <a:solidFill>
                <a:schemeClr val="bg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AC380CA-95DB-45F2-99D5-3A1E2DF54CD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E182003-2699-4135-A685-461A4D33947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7046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 bwMode="gray">
          <a:xfrm>
            <a:off x="332367" y="1931197"/>
            <a:ext cx="11520897" cy="3980439"/>
          </a:xfrm>
        </p:spPr>
        <p:txBody>
          <a:bodyPr/>
          <a:lstStyle>
            <a:lvl1pPr>
              <a:spcBef>
                <a:spcPts val="900"/>
              </a:spcBef>
              <a:defRPr sz="2000"/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802F1124-33BD-4EBB-98B3-2BE08BF7D732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477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7"/>
            <a:ext cx="11520000" cy="39822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8842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: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5"/>
            <a:ext cx="11520000" cy="34309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BCB2B921-614D-48F2-9546-B278025F17EE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2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2" y="5453066"/>
            <a:ext cx="1152000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206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B990A71-B5F6-4698-B769-122A811A48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423433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348" imgH="346" progId="TCLayout.ActiveDocument.1">
                  <p:embed/>
                </p:oleObj>
              </mc:Choice>
              <mc:Fallback>
                <p:oleObj name="think-cell Slide" r:id="rId56" imgW="348" imgH="34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B990A71-B5F6-4698-B769-122A811A48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99782" y="6298397"/>
            <a:ext cx="8490250" cy="50007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fld id="{DAA42BF1-81AB-4815-B6E4-77563C3F2273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33264" y="1931194"/>
            <a:ext cx="11520000" cy="3982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5" name="Straight Connector 34"/>
          <p:cNvCxnSpPr/>
          <p:nvPr/>
        </p:nvCxnSpPr>
        <p:spPr bwMode="gray">
          <a:xfrm>
            <a:off x="335577" y="6094413"/>
            <a:ext cx="115200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8" name="Group 67"/>
          <p:cNvGrpSpPr/>
          <p:nvPr/>
        </p:nvGrpSpPr>
        <p:grpSpPr bwMode="gray">
          <a:xfrm>
            <a:off x="334271" y="6327549"/>
            <a:ext cx="337946" cy="88364"/>
            <a:chOff x="61913" y="5218113"/>
            <a:chExt cx="3138487" cy="820737"/>
          </a:xfrm>
          <a:solidFill>
            <a:schemeClr val="accent3"/>
          </a:solidFill>
        </p:grpSpPr>
        <p:sp>
          <p:nvSpPr>
            <p:cNvPr id="69" name="Freeform 16"/>
            <p:cNvSpPr>
              <a:spLocks noEditPoints="1"/>
            </p:cNvSpPr>
            <p:nvPr userDrawn="1"/>
          </p:nvSpPr>
          <p:spPr bwMode="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Freeform 17"/>
            <p:cNvSpPr>
              <a:spLocks noEditPoints="1"/>
            </p:cNvSpPr>
            <p:nvPr userDrawn="1"/>
          </p:nvSpPr>
          <p:spPr bwMode="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Freeform 18"/>
            <p:cNvSpPr>
              <a:spLocks noEditPoints="1"/>
            </p:cNvSpPr>
            <p:nvPr userDrawn="1"/>
          </p:nvSpPr>
          <p:spPr bwMode="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Freeform 19"/>
            <p:cNvSpPr>
              <a:spLocks noEditPoints="1"/>
            </p:cNvSpPr>
            <p:nvPr userDrawn="1"/>
          </p:nvSpPr>
          <p:spPr bwMode="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cxnSp>
        <p:nvCxnSpPr>
          <p:cNvPr id="73" name="Straight Connector 72"/>
          <p:cNvCxnSpPr/>
          <p:nvPr/>
        </p:nvCxnSpPr>
        <p:spPr bwMode="gray">
          <a:xfrm>
            <a:off x="1692854" y="6472543"/>
            <a:ext cx="0" cy="1324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 bwMode="gray">
          <a:xfrm>
            <a:off x="242214" y="426352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2400" b="1">
                <a:solidFill>
                  <a:schemeClr val="bg2"/>
                </a:solidFill>
              </a:rPr>
              <a:t>—</a:t>
            </a:r>
            <a:endParaRPr lang="en-US" sz="2400" b="1">
              <a:solidFill>
                <a:schemeClr val="bg2"/>
              </a:solidFill>
            </a:endParaRPr>
          </a:p>
        </p:txBody>
      </p:sp>
      <p:pic>
        <p:nvPicPr>
          <p:cNvPr id="16" name="Picture 19"/>
          <p:cNvPicPr>
            <a:picLocks noChangeAspect="1" noChangeArrowheads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401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90" r:id="rId2"/>
    <p:sldLayoutId id="2147483655" r:id="rId3"/>
    <p:sldLayoutId id="2147483656" r:id="rId4"/>
    <p:sldLayoutId id="2147483657" r:id="rId5"/>
    <p:sldLayoutId id="2147483658" r:id="rId6"/>
    <p:sldLayoutId id="2147483653" r:id="rId7"/>
    <p:sldLayoutId id="2147483650" r:id="rId8"/>
    <p:sldLayoutId id="2147483691" r:id="rId9"/>
    <p:sldLayoutId id="2147483661" r:id="rId10"/>
    <p:sldLayoutId id="2147483696" r:id="rId11"/>
    <p:sldLayoutId id="2147483663" r:id="rId12"/>
    <p:sldLayoutId id="2147483662" r:id="rId13"/>
    <p:sldLayoutId id="2147483664" r:id="rId14"/>
    <p:sldLayoutId id="2147483692" r:id="rId15"/>
    <p:sldLayoutId id="2147483693" r:id="rId16"/>
    <p:sldLayoutId id="2147483665" r:id="rId17"/>
    <p:sldLayoutId id="2147483667" r:id="rId18"/>
    <p:sldLayoutId id="2147483668" r:id="rId19"/>
    <p:sldLayoutId id="2147483669" r:id="rId20"/>
    <p:sldLayoutId id="2147483670" r:id="rId21"/>
    <p:sldLayoutId id="2147483700" r:id="rId22"/>
    <p:sldLayoutId id="2147483659" r:id="rId23"/>
    <p:sldLayoutId id="2147483660" r:id="rId24"/>
    <p:sldLayoutId id="2147483694" r:id="rId25"/>
    <p:sldLayoutId id="2147483677" r:id="rId26"/>
    <p:sldLayoutId id="2147483679" r:id="rId27"/>
    <p:sldLayoutId id="2147483680" r:id="rId28"/>
    <p:sldLayoutId id="2147483666" r:id="rId29"/>
    <p:sldLayoutId id="2147483672" r:id="rId30"/>
    <p:sldLayoutId id="2147483673" r:id="rId31"/>
    <p:sldLayoutId id="2147483674" r:id="rId32"/>
    <p:sldLayoutId id="2147483675" r:id="rId33"/>
    <p:sldLayoutId id="2147483676" r:id="rId34"/>
    <p:sldLayoutId id="2147483701" r:id="rId35"/>
    <p:sldLayoutId id="2147483681" r:id="rId36"/>
    <p:sldLayoutId id="2147483682" r:id="rId37"/>
    <p:sldLayoutId id="2147483702" r:id="rId38"/>
    <p:sldLayoutId id="2147483703" r:id="rId39"/>
    <p:sldLayoutId id="2147483699" r:id="rId40"/>
    <p:sldLayoutId id="2147483695" r:id="rId41"/>
    <p:sldLayoutId id="2147483683" r:id="rId42"/>
    <p:sldLayoutId id="2147483684" r:id="rId43"/>
    <p:sldLayoutId id="2147483698" r:id="rId44"/>
    <p:sldLayoutId id="2147483697" r:id="rId45"/>
    <p:sldLayoutId id="2147483685" r:id="rId46"/>
    <p:sldLayoutId id="2147483686" r:id="rId47"/>
    <p:sldLayoutId id="2147483687" r:id="rId48"/>
    <p:sldLayoutId id="2147483688" r:id="rId49"/>
    <p:sldLayoutId id="2147483689" r:id="rId50"/>
    <p:sldLayoutId id="2147483705" r:id="rId51"/>
    <p:sldLayoutId id="2147483651" r:id="rId52"/>
    <p:sldLayoutId id="2147483652" r:id="rId5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91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91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18" indent="-180018" algn="l" defTabSz="914491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1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7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9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4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8">
          <p15:clr>
            <a:srgbClr val="F26B43"/>
          </p15:clr>
        </p15:guide>
        <p15:guide id="2" pos="7469">
          <p15:clr>
            <a:srgbClr val="F26B43"/>
          </p15:clr>
        </p15:guide>
        <p15:guide id="3" pos="212">
          <p15:clr>
            <a:srgbClr val="F26B43"/>
          </p15:clr>
        </p15:guide>
        <p15:guide id="4" orient="horz" pos="3726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4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8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Relationship Id="rId5" Type="http://schemas.microsoft.com/office/2007/relationships/hdphoto" Target="../media/hdphoto19.wdp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0.wdp"/><Relationship Id="rId7" Type="http://schemas.microsoft.com/office/2007/relationships/hdphoto" Target="../media/hdphoto22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5.png"/><Relationship Id="rId5" Type="http://schemas.microsoft.com/office/2007/relationships/hdphoto" Target="../media/hdphoto21.wdp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3.wdp"/><Relationship Id="rId7" Type="http://schemas.microsoft.com/office/2007/relationships/hdphoto" Target="../media/hdphoto25.wdp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png"/><Relationship Id="rId5" Type="http://schemas.microsoft.com/office/2007/relationships/hdphoto" Target="../media/hdphoto24.wdp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26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microsoft.com/office/2007/relationships/hdphoto" Target="../media/hdphoto27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12" Type="http://schemas.microsoft.com/office/2007/relationships/hdphoto" Target="../media/hdphoto3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microsoft.com/office/2007/relationships/hdphoto" Target="../media/hdphoto4.wdp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microsoft.com/office/2007/relationships/hdphoto" Target="../media/hdphoto5.wdp"/><Relationship Id="rId7" Type="http://schemas.microsoft.com/office/2007/relationships/hdphoto" Target="../media/hdphoto7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5" Type="http://schemas.microsoft.com/office/2007/relationships/hdphoto" Target="../media/hdphoto6.wdp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5" Type="http://schemas.microsoft.com/office/2007/relationships/hdphoto" Target="../media/hdphoto9.wdp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7" Type="http://schemas.microsoft.com/office/2007/relationships/hdphoto" Target="../media/hdphoto12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png"/><Relationship Id="rId5" Type="http://schemas.microsoft.com/office/2007/relationships/hdphoto" Target="../media/hdphoto11.wdp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3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5" Type="http://schemas.microsoft.com/office/2007/relationships/hdphoto" Target="../media/hdphoto14.wdp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7.wdp"/><Relationship Id="rId3" Type="http://schemas.microsoft.com/office/2007/relationships/hdphoto" Target="../media/hdphoto15.wdp"/><Relationship Id="rId7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9.png"/><Relationship Id="rId5" Type="http://schemas.microsoft.com/office/2007/relationships/hdphoto" Target="../media/hdphoto16.wdp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E28776B-0C9F-4DCB-812C-D3E6DE9720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02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6" progId="TCLayout.ActiveDocument.1">
                  <p:embed/>
                </p:oleObj>
              </mc:Choice>
              <mc:Fallback>
                <p:oleObj name="think-cell Slide" r:id="rId3" imgW="348" imgH="34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E28776B-0C9F-4DCB-812C-D3E6DE972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2C6C6DD-77D6-4A5C-8967-601AD5E5D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86F75B-775F-4396-B6B7-E935C1B64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0518" y="5205567"/>
            <a:ext cx="11170163" cy="504000"/>
          </a:xfrm>
        </p:spPr>
        <p:txBody>
          <a:bodyPr vert="horz"/>
          <a:lstStyle/>
          <a:p>
            <a:r>
              <a:rPr lang="en-GB"/>
              <a:t>Order Forecasting</a:t>
            </a:r>
            <a:endParaRPr lang="de-DE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81A8FE5B-935A-4EE5-9097-7697E8FC421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/>
              <a:t>HackFest 2022</a:t>
            </a:r>
            <a:endParaRPr lang="de-D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6023CF-00AB-49CB-9CB7-132A68A1C9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400"/>
              <a:t>--Hrushikesh H D</a:t>
            </a:r>
            <a:endParaRPr lang="de-DE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6358897-F9A9-427F-80FD-2A8FEB1B3E8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9DB0B43-98E4-4323-A6CF-45904B31B1C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AA2C5AA-AFF2-47DA-9874-DDBF03D074C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663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28544F5E-7681-C832-D202-CD2643B7C6E6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r="41039"/>
          <a:stretch/>
        </p:blipFill>
        <p:spPr>
          <a:xfrm>
            <a:off x="100558" y="881403"/>
            <a:ext cx="3858794" cy="4819846"/>
          </a:xfrm>
          <a:ln>
            <a:solidFill>
              <a:schemeClr val="tx1"/>
            </a:solidFill>
          </a:ln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6B775-17C4-75ED-898E-9A43C24C1B7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BB30C8-E208-6ADF-8424-F440F5D836C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C006E3-10C3-2E7E-78B8-5EB4A125C5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E8DEBCD-F3F5-75F2-A990-1D08C709B5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78223" y="187976"/>
            <a:ext cx="8013219" cy="582877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50127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F0149719-F661-3FF9-F4BB-9D93ADC6BF1C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909" y="456408"/>
            <a:ext cx="5879983" cy="3914534"/>
          </a:xfrm>
          <a:ln>
            <a:solidFill>
              <a:schemeClr val="tx1"/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AEC0262-4BCF-A304-9A67-324AF2BB4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240" y="59531"/>
            <a:ext cx="11520000" cy="396000"/>
          </a:xfrm>
        </p:spPr>
        <p:txBody>
          <a:bodyPr/>
          <a:lstStyle/>
          <a:p>
            <a:r>
              <a:rPr lang="en-US"/>
              <a:t>Solution – Italy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71F796-296F-FF9F-9BF4-F068143D3D3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4E1251-9934-DC54-0663-BF39BE83ADB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7F3C6F-03AC-5D34-BF14-4D5EF9228B4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3F8844D-7C84-2FD1-4C31-BF1D9FEC29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95999" y="59531"/>
            <a:ext cx="6083539" cy="43147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2CB16B-4986-63AD-E72D-02F88FE4535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r="54642" b="60673"/>
          <a:stretch/>
        </p:blipFill>
        <p:spPr>
          <a:xfrm>
            <a:off x="2475001" y="4510364"/>
            <a:ext cx="3461891" cy="158405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284CC14-0A92-A8CC-7480-E6162AC0DDA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t="39320" r="33421"/>
          <a:stretch/>
        </p:blipFill>
        <p:spPr>
          <a:xfrm>
            <a:off x="6096000" y="4492715"/>
            <a:ext cx="4124975" cy="160170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3853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D1CB66AA-90D4-7479-4F84-4AF69C979F0B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r="42070"/>
          <a:stretch/>
        </p:blipFill>
        <p:spPr>
          <a:xfrm>
            <a:off x="4200563" y="963017"/>
            <a:ext cx="3680877" cy="4264514"/>
          </a:xfrm>
          <a:ln>
            <a:solidFill>
              <a:schemeClr val="tx1"/>
            </a:solidFill>
          </a:ln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EB76CF-0BE2-49C6-58BE-CE0830AA0E3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18D71D-1F53-7AFC-0D09-858CC3C745B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78657-E293-B4A4-FE89-5701968553E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F7C647-E647-62B4-E578-E3C2194C48C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l="1752" r="45060" b="9373"/>
          <a:stretch/>
        </p:blipFill>
        <p:spPr>
          <a:xfrm>
            <a:off x="187435" y="972688"/>
            <a:ext cx="3888939" cy="42649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897467E-193A-CD5F-E967-51D17CA7C26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t="18582" r="51617" b="3761"/>
          <a:stretch/>
        </p:blipFill>
        <p:spPr>
          <a:xfrm>
            <a:off x="8065008" y="1178689"/>
            <a:ext cx="3997637" cy="405136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783C597-8F96-8C4E-396F-518D24F9D766}"/>
              </a:ext>
            </a:extLst>
          </p:cNvPr>
          <p:cNvSpPr txBox="1"/>
          <p:nvPr/>
        </p:nvSpPr>
        <p:spPr bwMode="gray">
          <a:xfrm>
            <a:off x="0" y="5393566"/>
            <a:ext cx="6706537" cy="600581"/>
          </a:xfrm>
          <a:prstGeom prst="rect">
            <a:avLst/>
          </a:prstGeom>
          <a:noFill/>
        </p:spPr>
        <p:txBody>
          <a:bodyPr wrap="none" lIns="72000" tIns="72000" rIns="72000" bIns="72000" rtlCol="0" anchor="t">
            <a:noAutofit/>
          </a:bodyPr>
          <a:lstStyle/>
          <a:p>
            <a:r>
              <a:rPr lang="en-US" sz="1400" b="1"/>
              <a:t>We can see that there are possible degrees of similarity, but it didn’t give better results </a:t>
            </a:r>
          </a:p>
          <a:p>
            <a:r>
              <a:rPr lang="en-IN" sz="1400" b="1"/>
              <a:t>Let’s get the Difference which gives us better results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31DE87F-3B29-803B-38D9-B47968F1938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r="34737" b="81349"/>
          <a:stretch/>
        </p:blipFill>
        <p:spPr>
          <a:xfrm>
            <a:off x="8065007" y="46515"/>
            <a:ext cx="3998934" cy="105990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B718FE6-F94E-B720-6AFA-02F94E8FD59D}"/>
              </a:ext>
            </a:extLst>
          </p:cNvPr>
          <p:cNvSpPr txBox="1"/>
          <p:nvPr/>
        </p:nvSpPr>
        <p:spPr bwMode="gray">
          <a:xfrm>
            <a:off x="1038118" y="585055"/>
            <a:ext cx="1293602" cy="387858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r>
              <a:rPr lang="en-US" sz="1400" b="1"/>
              <a:t>Original Values</a:t>
            </a:r>
            <a:endParaRPr lang="en-IN" sz="1400" b="1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E048BF-1677-5C55-D0EE-AB11A68CC8B9}"/>
              </a:ext>
            </a:extLst>
          </p:cNvPr>
          <p:cNvSpPr txBox="1"/>
          <p:nvPr/>
        </p:nvSpPr>
        <p:spPr bwMode="gray">
          <a:xfrm>
            <a:off x="5128619" y="575159"/>
            <a:ext cx="1577432" cy="389481"/>
          </a:xfrm>
          <a:prstGeom prst="rect">
            <a:avLst/>
          </a:prstGeom>
          <a:noFill/>
        </p:spPr>
        <p:txBody>
          <a:bodyPr wrap="none" lIns="72000" tIns="72000" rIns="72000" bIns="72000" rtlCol="0" anchor="t">
            <a:noAutofit/>
          </a:bodyPr>
          <a:lstStyle/>
          <a:p>
            <a:r>
              <a:rPr lang="en-US" sz="1400" b="1"/>
              <a:t>Return Values</a:t>
            </a:r>
            <a:endParaRPr lang="en-IN" sz="1400" b="1" err="1"/>
          </a:p>
        </p:txBody>
      </p:sp>
    </p:spTree>
    <p:extLst>
      <p:ext uri="{BB962C8B-B14F-4D97-AF65-F5344CB8AC3E}">
        <p14:creationId xmlns:p14="http://schemas.microsoft.com/office/powerpoint/2010/main" val="2547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9B165054-3C89-9BEC-16C7-917609C3A549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7527" y="155448"/>
            <a:ext cx="10898777" cy="5852160"/>
          </a:xfrm>
          <a:ln>
            <a:solidFill>
              <a:schemeClr val="tx1"/>
            </a:solidFill>
          </a:ln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69F9A-46D0-7E43-28AE-66843CB5807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BBF9D9-FAB4-5634-372E-EA5A49DD0D8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456A73-72D7-AD30-1BF9-56E009C3E8A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74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3579F0D-5EE6-49EC-92B7-15214DCFBA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6" progId="TCLayout.ActiveDocument.1">
                  <p:embed/>
                </p:oleObj>
              </mc:Choice>
              <mc:Fallback>
                <p:oleObj name="think-cell Slide" r:id="rId3" imgW="348" imgH="34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3579F0D-5EE6-49EC-92B7-15214DCFB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CDB9FA0-3CDC-4B99-A898-97882F2CE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367" y="59531"/>
            <a:ext cx="11520000" cy="396000"/>
          </a:xfrm>
        </p:spPr>
        <p:txBody>
          <a:bodyPr vert="horz"/>
          <a:lstStyle/>
          <a:p>
            <a:r>
              <a:rPr lang="en-US"/>
              <a:t>Methodology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DDE800-99E9-4902-B7A9-409F58BFB8E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428DF2-BC2A-43CC-822C-039A8C88F36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E2D8F-B40E-4E58-9370-4DBE2BED883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3BD881-F8D5-8834-349E-6327C12E19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999" y="497228"/>
            <a:ext cx="7289097" cy="557438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B823A79-60E8-9B60-8C23-ED4C8B4D7A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90719" y="1074365"/>
            <a:ext cx="4289769" cy="44404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EE8B160-144A-92F2-6635-7B4525451A9F}"/>
              </a:ext>
            </a:extLst>
          </p:cNvPr>
          <p:cNvSpPr txBox="1"/>
          <p:nvPr/>
        </p:nvSpPr>
        <p:spPr bwMode="gray">
          <a:xfrm>
            <a:off x="8733313" y="663038"/>
            <a:ext cx="1774246" cy="3608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/>
              <a:t>Forecasted Values</a:t>
            </a:r>
          </a:p>
        </p:txBody>
      </p:sp>
    </p:spTree>
    <p:extLst>
      <p:ext uri="{BB962C8B-B14F-4D97-AF65-F5344CB8AC3E}">
        <p14:creationId xmlns:p14="http://schemas.microsoft.com/office/powerpoint/2010/main" val="195749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3579F0D-5EE6-49EC-92B7-15214DCFBA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6" progId="TCLayout.ActiveDocument.1">
                  <p:embed/>
                </p:oleObj>
              </mc:Choice>
              <mc:Fallback>
                <p:oleObj name="think-cell Slide" r:id="rId3" imgW="348" imgH="34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3579F0D-5EE6-49EC-92B7-15214DCFB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AEE492-78EF-4CBC-AB2B-B5DAD420EB3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19746" y="755779"/>
            <a:ext cx="11411143" cy="266962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1"/>
              <a:t>ASSUMPTIONS :</a:t>
            </a:r>
            <a:endParaRPr lang="en-US" sz="1600"/>
          </a:p>
          <a:p>
            <a:pPr marL="285750" indent="-285750">
              <a:buChar char="•"/>
            </a:pPr>
            <a:r>
              <a:rPr lang="en-US"/>
              <a:t> Data should be stationary – It means that the properties of the series doesn’t depend on the time when it is captured.</a:t>
            </a:r>
            <a:endParaRPr lang="en-US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 Data should be univariate – ARMA works on a single variable.</a:t>
            </a:r>
            <a:r>
              <a:rPr lang="en-US">
                <a:ea typeface="+mn-lt"/>
                <a:cs typeface="+mn-lt"/>
              </a:rPr>
              <a:t> Auto-regression is all about regression with the past values.</a:t>
            </a:r>
            <a:endParaRPr lang="en-US"/>
          </a:p>
          <a:p>
            <a:pPr marL="285750" indent="-285750">
              <a:buChar char="•"/>
            </a:pPr>
            <a:endParaRPr lang="en-US"/>
          </a:p>
          <a:p>
            <a:r>
              <a:rPr lang="en-US" sz="1600" b="1"/>
              <a:t>TEST DONE :</a:t>
            </a:r>
          </a:p>
          <a:p>
            <a:r>
              <a:rPr lang="en-US" b="1"/>
              <a:t>AUGMENTED DICKEY-FULLER TEST (ADF TEST)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 ADF Test is a common statistical test used to test whether a given Time series is stationary or not.</a:t>
            </a:r>
          </a:p>
          <a:p>
            <a:r>
              <a:rPr lang="en-US"/>
              <a:t>       Null Hypothesis (H0): </a:t>
            </a:r>
            <a:r>
              <a:rPr lang="en-US" b="1"/>
              <a:t>α=1</a:t>
            </a:r>
            <a:endParaRPr lang="en-US"/>
          </a:p>
          <a:p>
            <a:r>
              <a:rPr lang="en-US"/>
              <a:t>       Alternate Hypothesis (H1):</a:t>
            </a:r>
            <a:r>
              <a:rPr lang="en-US" b="1"/>
              <a:t> α&lt;1</a:t>
            </a:r>
          </a:p>
          <a:p>
            <a:endParaRPr lang="en-US"/>
          </a:p>
          <a:p>
            <a:endParaRPr lang="en-US" sz="1600" b="1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DB9FA0-3CDC-4B99-A898-97882F2CE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94" y="97890"/>
            <a:ext cx="11520000" cy="396000"/>
          </a:xfrm>
        </p:spPr>
        <p:txBody>
          <a:bodyPr vert="horz"/>
          <a:lstStyle/>
          <a:p>
            <a:r>
              <a:rPr lang="en-US" b="1"/>
              <a:t>What actually is happening inside the “ML Model”?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DDE800-99E9-4902-B7A9-409F58BFB8E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428DF2-BC2A-43CC-822C-039A8C88F36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E2D8F-B40E-4E58-9370-4DBE2BED883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294A6A4-9986-9AC8-EFAE-42BD6B3D1B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74084" y="2933090"/>
            <a:ext cx="5504659" cy="44027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8078549-46D9-AFB2-9151-8F4BB1CD35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76871" y="5632058"/>
            <a:ext cx="7439025" cy="46596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B4B4B74-2DC4-3311-F9C2-17B7E7103D2A}"/>
              </a:ext>
            </a:extLst>
          </p:cNvPr>
          <p:cNvSpPr txBox="1"/>
          <p:nvPr/>
        </p:nvSpPr>
        <p:spPr bwMode="gray">
          <a:xfrm>
            <a:off x="522020" y="3597234"/>
            <a:ext cx="11274506" cy="148423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>
                <a:ea typeface="+mn-lt"/>
                <a:cs typeface="+mn-lt"/>
              </a:rPr>
              <a:t>WORKING PRINCIPLE :</a:t>
            </a:r>
            <a:endParaRPr lang="en-US" sz="1600">
              <a:ea typeface="+mn-lt"/>
              <a:cs typeface="+mn-lt"/>
            </a:endParaRP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>
                <a:ea typeface="+mn-lt"/>
                <a:cs typeface="+mn-lt"/>
              </a:rPr>
              <a:t>Autoregressive moving average (ARMA) forecasts apply advanced modeling techniques to forecast time-series data by first back fitting to historical data and then forecasting the future.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>
                <a:ea typeface="+mn-lt"/>
                <a:cs typeface="+mn-lt"/>
              </a:rPr>
              <a:t>It comes from merging two simpler models - the Autoregressive, or AR, and the Moving Average, or MA.</a:t>
            </a:r>
          </a:p>
          <a:p>
            <a:pPr>
              <a:spcBef>
                <a:spcPts val="600"/>
              </a:spcBef>
            </a:pPr>
            <a:r>
              <a:rPr lang="en-US" sz="1400">
                <a:ea typeface="+mn-lt"/>
                <a:cs typeface="+mn-lt"/>
              </a:rPr>
              <a:t>      Example : The equation for an ARMA (2,3) would look like this:</a:t>
            </a:r>
            <a:endParaRPr lang="en-US"/>
          </a:p>
        </p:txBody>
      </p:sp>
      <p:pic>
        <p:nvPicPr>
          <p:cNvPr id="10" name="Picture 10">
            <a:extLst>
              <a:ext uri="{FF2B5EF4-FFF2-40B4-BE49-F238E27FC236}">
                <a16:creationId xmlns:a16="http://schemas.microsoft.com/office/drawing/2014/main" id="{933E9582-B6F4-4D1E-855F-5724A48033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3429" y="5089620"/>
            <a:ext cx="4822371" cy="47787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2210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3579F0D-5EE6-49EC-92B7-15214DCFBA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6" progId="TCLayout.ActiveDocument.1">
                  <p:embed/>
                </p:oleObj>
              </mc:Choice>
              <mc:Fallback>
                <p:oleObj name="think-cell Slide" r:id="rId3" imgW="348" imgH="34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3579F0D-5EE6-49EC-92B7-15214DCFB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AEE492-78EF-4CBC-AB2B-B5DAD420EB3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95948" y="1058351"/>
            <a:ext cx="11609065" cy="418016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b="1"/>
              <a:t>CHALLENGES:</a:t>
            </a:r>
          </a:p>
          <a:p>
            <a:pPr marL="465455" lvl="1" indent="-285750">
              <a:buFont typeface="Arial" panose="020B0604020202020204" pitchFamily="34" charset="0"/>
              <a:buChar char="•"/>
            </a:pPr>
            <a:r>
              <a:rPr lang="en-US"/>
              <a:t>Forecasting for longer periods may not be efficient as it shows some repetitive patterns. </a:t>
            </a:r>
          </a:p>
          <a:p>
            <a:pPr marL="465455" lvl="1" indent="-285750">
              <a:buFont typeface="Arial" panose="020B0604020202020204" pitchFamily="34" charset="0"/>
              <a:buChar char="•"/>
            </a:pPr>
            <a:r>
              <a:rPr lang="en-US"/>
              <a:t>Model has to be retrained as we obtain more data over the period with different AR, MA order paramet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r>
              <a:rPr lang="en-US" b="1"/>
              <a:t>ACCURACY AND IMPROVISATION:</a:t>
            </a:r>
          </a:p>
          <a:p>
            <a:pPr marL="465455" lvl="1" indent="-285750">
              <a:buFont typeface="Arial" panose="020B0604020202020204" pitchFamily="34" charset="0"/>
              <a:buChar char="•"/>
            </a:pPr>
            <a:r>
              <a:rPr lang="en-US"/>
              <a:t>By this methodology I got an average </a:t>
            </a:r>
            <a:r>
              <a:rPr lang="en-US" err="1"/>
              <a:t>rmsle</a:t>
            </a:r>
            <a:r>
              <a:rPr lang="en-US"/>
              <a:t> value of 0.2 to 0.3. This error may increase as we forecast over the period. </a:t>
            </a:r>
          </a:p>
          <a:p>
            <a:pPr marL="465455" lvl="1" indent="-285750">
              <a:buFont typeface="Arial" panose="020B0604020202020204" pitchFamily="34" charset="0"/>
              <a:buChar char="•"/>
            </a:pPr>
            <a:endParaRPr lang="en-US"/>
          </a:p>
          <a:p>
            <a:pPr marL="179705" lvl="1" indent="0">
              <a:buNone/>
            </a:pPr>
            <a:r>
              <a:rPr lang="en-US"/>
              <a:t>Accuracy can be improvised by:  </a:t>
            </a:r>
          </a:p>
          <a:p>
            <a:pPr marL="645160" lvl="2" indent="-285750">
              <a:buFont typeface="Arial" panose="020D0603020503020204" pitchFamily="34" charset="0"/>
              <a:buChar char="•"/>
            </a:pPr>
            <a:r>
              <a:rPr lang="en-US"/>
              <a:t>Having some more data.</a:t>
            </a:r>
          </a:p>
          <a:p>
            <a:pPr marL="645160" lvl="2" indent="-285750"/>
            <a:r>
              <a:rPr lang="en-US"/>
              <a:t>Having some exogenous features which helps in explaining the data. </a:t>
            </a:r>
          </a:p>
          <a:p>
            <a:pPr marL="645160" lvl="2" indent="-285750"/>
            <a:r>
              <a:rPr lang="en-US"/>
              <a:t>Trying some other statistical transformation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DB9FA0-3CDC-4B99-A898-97882F2CE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301" y="58414"/>
            <a:ext cx="11520000" cy="396000"/>
          </a:xfrm>
        </p:spPr>
        <p:txBody>
          <a:bodyPr vert="horz"/>
          <a:lstStyle/>
          <a:p>
            <a:r>
              <a:rPr lang="en-US" b="1"/>
              <a:t>Future </a:t>
            </a:r>
            <a:r>
              <a:rPr lang="en-US"/>
              <a:t>Challenges And Accuracy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DDE800-99E9-4902-B7A9-409F58BFB8E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428DF2-BC2A-43CC-822C-039A8C88F36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E2D8F-B40E-4E58-9370-4DBE2BED883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93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1A7615C-785A-4592-A71E-E026EB4A1B2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62DC934-8D94-4C45-ADC7-1B111A21071B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3B404A-D8F9-422F-9A30-12682DDFB2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F44275-A164-437A-BB31-2809A6AED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343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3579F0D-5EE6-49EC-92B7-15214DCFBA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481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6" progId="TCLayout.ActiveDocument.1">
                  <p:embed/>
                </p:oleObj>
              </mc:Choice>
              <mc:Fallback>
                <p:oleObj name="think-cell Slide" r:id="rId3" imgW="348" imgH="34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3579F0D-5EE6-49EC-92B7-15214DCFB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AEE492-78EF-4CBC-AB2B-B5DAD420EB3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52159" y="653607"/>
            <a:ext cx="11035091" cy="541063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2400" b="1">
                <a:ea typeface="+mn-lt"/>
                <a:cs typeface="+mn-lt"/>
              </a:rPr>
              <a:t>Project Objective</a:t>
            </a:r>
            <a:endParaRPr lang="en-US" sz="2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To explore and understand patterns in changes over time where these patterns signify the components of Time Series. 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And to forecast the next 15 months’ order values for 5 countries.</a:t>
            </a:r>
          </a:p>
          <a:p>
            <a:endParaRPr lang="en-US" sz="1600"/>
          </a:p>
          <a:p>
            <a:r>
              <a:rPr lang="en-US" sz="2400" b="1"/>
              <a:t>Dataset Overview</a:t>
            </a:r>
            <a:endParaRPr lang="en-US" sz="2000" b="1"/>
          </a:p>
          <a:p>
            <a:pPr marL="285750" indent="-285750">
              <a:buChar char="•"/>
            </a:pPr>
            <a:r>
              <a:rPr lang="en-US" sz="1600"/>
              <a:t>The dataset contains total order data for 5 countries </a:t>
            </a:r>
            <a:endParaRPr lang="en-US"/>
          </a:p>
          <a:p>
            <a:r>
              <a:rPr lang="en-US" sz="1600"/>
              <a:t>      from Jan 2019 to April 2022 provided by a </a:t>
            </a:r>
            <a:r>
              <a:rPr lang="en-US" sz="1600">
                <a:ea typeface="+mn-lt"/>
                <a:cs typeface="+mn-lt"/>
              </a:rPr>
              <a:t>manufacturing company.</a:t>
            </a:r>
            <a:endParaRPr lang="en-US"/>
          </a:p>
          <a:p>
            <a:r>
              <a:rPr lang="en-US" sz="1600"/>
              <a:t>	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DDE800-99E9-4902-B7A9-409F58BFB8E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428DF2-BC2A-43CC-822C-039A8C88F36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E2D8F-B40E-4E58-9370-4DBE2BED883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11" name="Picture 11" descr="Table&#10;&#10;Description automatically generated">
            <a:extLst>
              <a:ext uri="{FF2B5EF4-FFF2-40B4-BE49-F238E27FC236}">
                <a16:creationId xmlns:a16="http://schemas.microsoft.com/office/drawing/2014/main" id="{DD708AB0-D395-5120-38B0-3898BCC046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2374" y="1766949"/>
            <a:ext cx="4000004" cy="420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19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3579F0D-5EE6-49EC-92B7-15214DCFBA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6" progId="TCLayout.ActiveDocument.1">
                  <p:embed/>
                </p:oleObj>
              </mc:Choice>
              <mc:Fallback>
                <p:oleObj name="think-cell Slide" r:id="rId3" imgW="348" imgH="34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3579F0D-5EE6-49EC-92B7-15214DCFB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EFDD950F-D5E5-2C08-9000-0810714ECFA2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677" y="507867"/>
            <a:ext cx="5986571" cy="3684992"/>
          </a:xfrm>
          <a:ln>
            <a:solidFill>
              <a:schemeClr val="tx1"/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CDB9FA0-3CDC-4B99-A898-97882F2CE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805" y="111867"/>
            <a:ext cx="11520000" cy="396000"/>
          </a:xfrm>
        </p:spPr>
        <p:txBody>
          <a:bodyPr vert="horz"/>
          <a:lstStyle/>
          <a:p>
            <a:r>
              <a:rPr lang="en-GB"/>
              <a:t>Solution – Canada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DDE800-99E9-4902-B7A9-409F58BFB8E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E2D8F-B40E-4E58-9370-4DBE2BED883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2DD52AA-0F73-C023-8E61-A63A85D2DEA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777" r="38614"/>
          <a:stretch/>
        </p:blipFill>
        <p:spPr>
          <a:xfrm>
            <a:off x="109428" y="4282308"/>
            <a:ext cx="3817979" cy="18017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B3729F9-0CB5-AAFA-6309-E372B2CEA4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45352" y="111868"/>
            <a:ext cx="5777843" cy="40809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82830CF-0A9C-460C-F7C2-8F8B9EEF9D8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56592" b="57110"/>
          <a:stretch/>
        </p:blipFill>
        <p:spPr>
          <a:xfrm>
            <a:off x="4113101" y="4282308"/>
            <a:ext cx="3073852" cy="18017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5494A3E-FED5-875D-C82C-CCD122EAA044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t="43438" r="32357"/>
          <a:stretch/>
        </p:blipFill>
        <p:spPr>
          <a:xfrm>
            <a:off x="7387322" y="4282308"/>
            <a:ext cx="4635873" cy="180174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8868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AAFC88-8AA6-E152-9534-D58DADDD40C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2CCC0F-86BC-F606-DCCC-D9F8C7B0F6A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9AA8CA-92BD-A9E5-7435-ADB946868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5C404F-00EF-2499-B5BE-0261A674A7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491" t="22739" r="42364" b="37187"/>
          <a:stretch/>
        </p:blipFill>
        <p:spPr>
          <a:xfrm>
            <a:off x="8910329" y="67457"/>
            <a:ext cx="3221384" cy="232827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81E3DDB-9028-1105-0CF2-B11566BA97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9094" y="2454272"/>
            <a:ext cx="7881145" cy="364215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D91C9BF-C3AF-8C24-04AE-3908F64A33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926" r="42260"/>
          <a:stretch/>
        </p:blipFill>
        <p:spPr>
          <a:xfrm>
            <a:off x="5771166" y="67457"/>
            <a:ext cx="3091495" cy="232827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34AD913-4541-F281-1126-C2983D7CA7E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r="73051" b="87718"/>
          <a:stretch/>
        </p:blipFill>
        <p:spPr>
          <a:xfrm>
            <a:off x="3626066" y="632923"/>
            <a:ext cx="2062350" cy="125227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F4E95F4-4050-8EB4-49DC-61818FF1C7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97" y="68571"/>
            <a:ext cx="3482642" cy="232430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7739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2ECCB94E-5895-04A5-848F-BB447262E28E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742" y="481515"/>
            <a:ext cx="5869405" cy="3730837"/>
          </a:xfrm>
          <a:ln>
            <a:solidFill>
              <a:schemeClr val="tx1"/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F585113-AB24-45C8-3BF7-3D9934769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90" y="47817"/>
            <a:ext cx="11520000" cy="309136"/>
          </a:xfrm>
        </p:spPr>
        <p:txBody>
          <a:bodyPr/>
          <a:lstStyle/>
          <a:p>
            <a:r>
              <a:rPr lang="en-US"/>
              <a:t>Solution – China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2D0C67-A6C0-BB32-77F5-24ED7A2A1EE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F7B039-378F-6980-C3CC-6AD7578884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272469-7E52-E8EF-34D8-529CF4CD774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3158251-2A07-1083-B8EB-5279B9BF291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r="1845"/>
          <a:stretch/>
        </p:blipFill>
        <p:spPr>
          <a:xfrm>
            <a:off x="6096000" y="-33454"/>
            <a:ext cx="6091183" cy="42519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FC06660-3DD6-95BB-47FA-AFC54B004F9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t="43155" r="26927" b="5151"/>
          <a:stretch/>
        </p:blipFill>
        <p:spPr>
          <a:xfrm>
            <a:off x="6096000" y="4359961"/>
            <a:ext cx="3944112" cy="169336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82475A-E598-4BB4-690F-FFCF649AB98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9244" b="56976"/>
          <a:stretch/>
        </p:blipFill>
        <p:spPr>
          <a:xfrm>
            <a:off x="2961117" y="4359961"/>
            <a:ext cx="2976030" cy="169336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2238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033950EA-64BF-0661-2131-84C21E6A97B7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2367" y="717899"/>
            <a:ext cx="3619814" cy="4580017"/>
          </a:xfrm>
          <a:ln>
            <a:solidFill>
              <a:schemeClr val="tx1"/>
            </a:solidFill>
          </a:ln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3DBCD4-33CA-BFC0-3749-EE3B908B492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4C74B0-C732-8B73-6589-BC1A800D528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98CC0A-D41F-42D2-3EF7-B4E0B75F2AD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F6C90-B211-901E-BB64-FD37389F67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93576" y="14926"/>
            <a:ext cx="8003936" cy="586578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9582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80A05317-C564-13AE-08EA-15A9060E83F6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487" y="455531"/>
            <a:ext cx="5575897" cy="3990383"/>
          </a:xfrm>
          <a:ln>
            <a:solidFill>
              <a:schemeClr val="tx1"/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EE4E3F1-7E4B-CC3F-D573-89DB80A00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824" y="59531"/>
            <a:ext cx="11520000" cy="396000"/>
          </a:xfrm>
        </p:spPr>
        <p:txBody>
          <a:bodyPr/>
          <a:lstStyle/>
          <a:p>
            <a:r>
              <a:rPr lang="en-US"/>
              <a:t>Solution – Germany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88A3BA-1588-F69E-6861-67B39362768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C2D5A5-019E-A61B-9A40-DB1C8A32B0F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7A7729-2714-2937-079B-CEAA4A0206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B826E84-08DA-CC3A-95D0-0FDBB1DBFB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02107" y="59530"/>
            <a:ext cx="6313693" cy="43863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30BECF0-290D-D821-20D0-39FDDCF38D2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r="56851" b="64026"/>
          <a:stretch/>
        </p:blipFill>
        <p:spPr>
          <a:xfrm>
            <a:off x="2253966" y="4514558"/>
            <a:ext cx="3415314" cy="156715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E7F0832-8BA6-DDFA-BB4B-BA006FB45FB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t="37732"/>
          <a:stretch/>
        </p:blipFill>
        <p:spPr>
          <a:xfrm>
            <a:off x="5802107" y="4509722"/>
            <a:ext cx="6313693" cy="157199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75658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A4F06116-21D7-8D60-D6FB-1C9E2AE0D85B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r="39384"/>
          <a:stretch/>
        </p:blipFill>
        <p:spPr>
          <a:xfrm>
            <a:off x="128379" y="908835"/>
            <a:ext cx="3821829" cy="4534293"/>
          </a:xfrm>
          <a:ln>
            <a:solidFill>
              <a:schemeClr val="tx1"/>
            </a:solidFill>
          </a:ln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91C618-DCD6-86EA-6D10-4D3BC5CB585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900235-699A-11E3-7F82-0D59DB116E0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7DF784-A2B0-F912-5979-444BAB741F4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7153E3-1466-8362-401A-75DCFC1AAC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87952" y="59531"/>
            <a:ext cx="7946122" cy="593893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8590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3D4E71CC-A817-0D25-91B4-A2083AEE737B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734" y="450175"/>
            <a:ext cx="5668090" cy="4083164"/>
          </a:xfrm>
          <a:ln>
            <a:solidFill>
              <a:schemeClr val="tx1"/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34F11D9-066E-C63A-8730-7AA1B6C71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968" y="59531"/>
            <a:ext cx="11520000" cy="396000"/>
          </a:xfrm>
          <a:ln>
            <a:solidFill>
              <a:schemeClr val="bg1"/>
            </a:solidFill>
          </a:ln>
        </p:spPr>
        <p:txBody>
          <a:bodyPr/>
          <a:lstStyle/>
          <a:p>
            <a:r>
              <a:rPr lang="en-US"/>
              <a:t>Solution – USA 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F09D8C-DD21-90BF-F748-B92857D40DE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ln>
            <a:solidFill>
              <a:schemeClr val="tx1"/>
            </a:solidFill>
          </a:ln>
        </p:spPr>
        <p:txBody>
          <a:bodyPr/>
          <a:lstStyle/>
          <a:p>
            <a:fld id="{DED11F41-F59E-4148-82B4-D5604C9DFCBD}" type="datetime4">
              <a:rPr lang="en-US" smtClean="0"/>
              <a:t>December 14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25A68-3C51-7F7A-13B4-B01E95AB99F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ln>
            <a:solidFill>
              <a:schemeClr val="tx1"/>
            </a:solidFill>
          </a:ln>
        </p:spPr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173197-7D21-AB3A-13DB-C7102152196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ln>
            <a:solidFill>
              <a:schemeClr val="tx1"/>
            </a:solidFill>
          </a:ln>
        </p:spPr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EAD0DEB-A267-75C7-184D-9197CE3BB6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82604" y="53874"/>
            <a:ext cx="6261398" cy="447840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5F2C438-EB7D-841A-2832-327F3EA53FD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1074" b="67879"/>
          <a:stretch/>
        </p:blipFill>
        <p:spPr>
          <a:xfrm>
            <a:off x="82734" y="4656632"/>
            <a:ext cx="2776887" cy="139790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FAA02C2-635D-64C4-BAD4-5FC218DE681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t="32706" r="57148" b="29514"/>
          <a:stretch/>
        </p:blipFill>
        <p:spPr>
          <a:xfrm>
            <a:off x="2973838" y="4666527"/>
            <a:ext cx="2786882" cy="138800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A4475A6-9BDA-88D7-E085-52002062077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t="70220" r="29243"/>
          <a:stretch/>
        </p:blipFill>
        <p:spPr>
          <a:xfrm>
            <a:off x="5882604" y="4660022"/>
            <a:ext cx="6261398" cy="139451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7304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BB Master">
  <a:themeElements>
    <a:clrScheme name="Custom 2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262626"/>
      </a:accent1>
      <a:accent2>
        <a:srgbClr val="6E6E6E"/>
      </a:accent2>
      <a:accent3>
        <a:srgbClr val="A9A9A9"/>
      </a:accent3>
      <a:accent4>
        <a:srgbClr val="D2D2D2"/>
      </a:accent4>
      <a:accent5>
        <a:srgbClr val="F0F0F0"/>
      </a:accent5>
      <a:accent6>
        <a:srgbClr val="FAFAFA"/>
      </a:accent6>
      <a:hlink>
        <a:srgbClr val="D90000"/>
      </a:hlink>
      <a:folHlink>
        <a:srgbClr val="FF000F"/>
      </a:folHlink>
    </a:clrScheme>
    <a:fontScheme name="ABBvoice">
      <a:majorFont>
        <a:latin typeface="ABBvoice"/>
        <a:ea typeface="ABBvoice"/>
        <a:cs typeface="ABBvoice"/>
      </a:majorFont>
      <a:minorFont>
        <a:latin typeface="ABBvoice"/>
        <a:ea typeface="ABBvoice"/>
        <a:cs typeface="ABBvo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  <a:custClrLst>
    <a:custClr name="Blue">
      <a:srgbClr val="004C97"/>
    </a:custClr>
    <a:custClr name="Green">
      <a:srgbClr val="007A33"/>
    </a:custClr>
    <a:custClr name="Yellow">
      <a:srgbClr val="FFD100"/>
    </a:custClr>
    <a:custClr name="Red Grey">
      <a:srgbClr val="817275"/>
    </a:custClr>
    <a:custClr name="Green Grey">
      <a:srgbClr val="6B7173"/>
    </a:custClr>
    <a:custClr name="Blue Grey">
      <a:srgbClr val="5B6F80"/>
    </a:custClr>
    <a:custClr name="Violet Grey">
      <a:srgbClr val="78838E"/>
    </a:custClr>
  </a:custClrLst>
  <a:extLst>
    <a:ext uri="{05A4C25C-085E-4340-85A3-A5531E510DB2}">
      <thm15:themeFamily xmlns:thm15="http://schemas.microsoft.com/office/thememl/2012/main" name="ABB PPT Template New Cover Picture_Test.potx" id="{0A66BA40-D7EE-40BC-96C9-BD8705A7948F}" vid="{4D465BF3-1E41-41EC-9207-5CBB230A5E28}"/>
    </a:ext>
  </a:extLst>
</a:theme>
</file>

<file path=ppt/theme/theme2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1F0B11778D374AA933A11299A50E48" ma:contentTypeVersion="11" ma:contentTypeDescription="Create a new document." ma:contentTypeScope="" ma:versionID="9caff8c24021fefd30ab2ec6332441c8">
  <xsd:schema xmlns:xsd="http://www.w3.org/2001/XMLSchema" xmlns:xs="http://www.w3.org/2001/XMLSchema" xmlns:p="http://schemas.microsoft.com/office/2006/metadata/properties" xmlns:ns2="7c7629b3-dab1-42bd-a926-5b376f256f66" xmlns:ns3="ef374982-62d3-4626-9120-88fd3c1396e4" targetNamespace="http://schemas.microsoft.com/office/2006/metadata/properties" ma:root="true" ma:fieldsID="ccd2d222e412eef2b13ef6dc2a6f182d" ns2:_="" ns3:_="">
    <xsd:import namespace="7c7629b3-dab1-42bd-a926-5b376f256f66"/>
    <xsd:import namespace="ef374982-62d3-4626-9120-88fd3c1396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7629b3-dab1-42bd-a926-5b376f256f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374982-62d3-4626-9120-88fd3c1396e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D10DFA3-B4E7-4435-B692-4D4B74C576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8A026E8-9C06-4E92-B804-0E5754DAFFC7}">
  <ds:schemaRefs>
    <ds:schemaRef ds:uri="7c7629b3-dab1-42bd-a926-5b376f256f66"/>
    <ds:schemaRef ds:uri="ef374982-62d3-4626-9120-88fd3c1396e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0C1BDA3-8B5D-4D31-847B-B5A22303E4EA}">
  <ds:schemaRefs>
    <ds:schemaRef ds:uri="7c7629b3-dab1-42bd-a926-5b376f256f66"/>
    <ds:schemaRef ds:uri="ef374982-62d3-4626-9120-88fd3c1396e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3457452[[fn=Celestial]]</Template>
  <Application>Microsoft Office PowerPoint</Application>
  <PresentationFormat>Widescreen</PresentationFormat>
  <Slides>17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ABB Master</vt:lpstr>
      <vt:lpstr>Order Forecasting</vt:lpstr>
      <vt:lpstr>PowerPoint Presentation</vt:lpstr>
      <vt:lpstr>Solution – Canada</vt:lpstr>
      <vt:lpstr>PowerPoint Presentation</vt:lpstr>
      <vt:lpstr>Solution – China</vt:lpstr>
      <vt:lpstr>PowerPoint Presentation</vt:lpstr>
      <vt:lpstr>Solution – Germany</vt:lpstr>
      <vt:lpstr>PowerPoint Presentation</vt:lpstr>
      <vt:lpstr>Solution – USA </vt:lpstr>
      <vt:lpstr>PowerPoint Presentation</vt:lpstr>
      <vt:lpstr>Solution – Italy</vt:lpstr>
      <vt:lpstr>PowerPoint Presentation</vt:lpstr>
      <vt:lpstr>PowerPoint Presentation</vt:lpstr>
      <vt:lpstr>Methodology</vt:lpstr>
      <vt:lpstr>What actually is happening inside the “ML Model”?</vt:lpstr>
      <vt:lpstr>Future Challenges And Accurac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RO</dc:title>
  <dc:creator>Harsh Patel</dc:creator>
  <cp:revision>21</cp:revision>
  <cp:lastPrinted>2022-06-02T07:23:38Z</cp:lastPrinted>
  <dcterms:created xsi:type="dcterms:W3CDTF">2021-04-14T09:31:22Z</dcterms:created>
  <dcterms:modified xsi:type="dcterms:W3CDTF">2022-12-14T09:0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1F0B11778D374AA933A11299A50E48</vt:lpwstr>
  </property>
</Properties>
</file>